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934" r:id="rId1"/>
  </p:sldMasterIdLst>
  <p:notesMasterIdLst>
    <p:notesMasterId r:id="rId13"/>
  </p:notesMasterIdLst>
  <p:sldIdLst>
    <p:sldId id="256" r:id="rId2"/>
    <p:sldId id="269" r:id="rId3"/>
    <p:sldId id="279" r:id="rId4"/>
    <p:sldId id="280" r:id="rId5"/>
    <p:sldId id="281" r:id="rId6"/>
    <p:sldId id="289" r:id="rId7"/>
    <p:sldId id="285" r:id="rId8"/>
    <p:sldId id="287" r:id="rId9"/>
    <p:sldId id="288" r:id="rId10"/>
    <p:sldId id="283" r:id="rId11"/>
    <p:sldId id="29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5A11"/>
    <a:srgbClr val="FFF197"/>
    <a:srgbClr val="49166D"/>
    <a:srgbClr val="250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42" autoAdjust="0"/>
    <p:restoredTop sz="93979" autoAdjust="0"/>
  </p:normalViewPr>
  <p:slideViewPr>
    <p:cSldViewPr snapToGrid="0">
      <p:cViewPr varScale="1">
        <p:scale>
          <a:sx n="131" d="100"/>
          <a:sy n="131" d="100"/>
        </p:scale>
        <p:origin x="50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75000"/>
          </a:schemeClr>
        </a:solidFill>
      </dgm:spPr>
      <dgm:t>
        <a:bodyPr rIns="324000"/>
        <a:lstStyle/>
        <a:p>
          <a:r>
            <a:rPr lang="en-US" sz="1200" b="1" dirty="0">
              <a:solidFill>
                <a:schemeClr val="bg1"/>
              </a:solidFill>
            </a:rPr>
            <a:t>Identify Problem and         Application</a:t>
          </a: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75000"/>
          </a:schemeClr>
        </a:solidFill>
      </dgm:spPr>
      <dgm:t>
        <a:bodyPr lIns="0" rIns="252000"/>
        <a:lstStyle/>
        <a:p>
          <a:r>
            <a:rPr lang="en-US" sz="1200" b="1" dirty="0">
              <a:solidFill>
                <a:schemeClr val="bg1"/>
              </a:solidFill>
            </a:rPr>
            <a:t>Data Exploration, Feature  Engineering</a:t>
          </a: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75000"/>
          </a:schemeClr>
        </a:solidFill>
      </dgm:spPr>
      <dgm:t>
        <a:bodyPr rIns="216000"/>
        <a:lstStyle/>
        <a:p>
          <a:r>
            <a:rPr lang="en-US" sz="1200" b="1" dirty="0">
              <a:solidFill>
                <a:schemeClr val="bg1"/>
              </a:solidFill>
            </a:rPr>
            <a:t>Feature Scaling and     Reduction</a:t>
          </a: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bg1"/>
              </a:solidFill>
            </a:rPr>
            <a:t>Regression Model</a:t>
          </a: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bg1"/>
              </a:solidFill>
            </a:rPr>
            <a:t>Classification Model</a:t>
          </a: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bg1"/>
              </a:solidFill>
            </a:rPr>
            <a:t>Classification Model</a:t>
          </a: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bg1"/>
              </a:solidFill>
            </a:rPr>
            <a:t>Classification Model</a:t>
          </a: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bg1"/>
              </a:solidFill>
            </a:rPr>
            <a:t>Conclusion</a:t>
          </a: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Identify Problem and         Application</a:t>
          </a: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sp:txBody>
      <dsp:txXfrm>
        <a:off x="9939102" y="0"/>
        <a:ext cx="2065014" cy="3727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Data Exploration, Feature  Engineering</a:t>
          </a: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sp:txBody>
      <dsp:txXfrm>
        <a:off x="9939102" y="0"/>
        <a:ext cx="2065014" cy="37279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Feature Scaling and     Reduction</a:t>
          </a: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sp:txBody>
      <dsp:txXfrm>
        <a:off x="9939102" y="0"/>
        <a:ext cx="2065014" cy="37279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Regression Model</a:t>
          </a: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sp:txBody>
      <dsp:txXfrm>
        <a:off x="9939102" y="0"/>
        <a:ext cx="2065014" cy="37279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Classification Model</a:t>
          </a: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sp:txBody>
      <dsp:txXfrm>
        <a:off x="9939102" y="0"/>
        <a:ext cx="2065014" cy="37279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Classification Model</a:t>
          </a: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sp:txBody>
      <dsp:txXfrm>
        <a:off x="9939102" y="0"/>
        <a:ext cx="2065014" cy="37279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Classification Model</a:t>
          </a: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onclusion</a:t>
          </a:r>
        </a:p>
      </dsp:txBody>
      <dsp:txXfrm>
        <a:off x="9939102" y="0"/>
        <a:ext cx="2065014" cy="3727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Regression Model</a:t>
          </a: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2">
                  <a:lumMod val="75000"/>
                </a:schemeClr>
              </a:solidFill>
            </a:rPr>
            <a:t>Classification Model</a:t>
          </a: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Conclusion</a:t>
          </a:r>
        </a:p>
      </dsp:txBody>
      <dsp:txXfrm>
        <a:off x="9939102" y="0"/>
        <a:ext cx="2065014" cy="3727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2951DA-5A2B-413A-9CC6-9C1FF93E1863}" type="datetimeFigureOut">
              <a:rPr lang="en-CA" smtClean="0"/>
              <a:t>2020-04-07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668F2-90C5-4B20-A290-F210F0FD3F43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82458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67869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800" dirty="0">
                <a:solidFill>
                  <a:srgbClr val="C55A11"/>
                </a:solidFill>
                <a:latin typeface="Lato"/>
              </a:rPr>
              <a:t>Some of the top ranking features from K-best include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lead_time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‘</a:t>
            </a:r>
          </a:p>
          <a:p>
            <a:r>
              <a:rPr lang="en-CA" sz="800" dirty="0">
                <a:solidFill>
                  <a:srgbClr val="C55A11"/>
                </a:solidFill>
                <a:latin typeface="Lato"/>
              </a:rPr>
              <a:t>'children‘</a:t>
            </a:r>
          </a:p>
          <a:p>
            <a:r>
              <a:rPr lang="en-CA" sz="800" dirty="0">
                <a:solidFill>
                  <a:srgbClr val="C55A11"/>
                </a:solidFill>
                <a:latin typeface="Lato"/>
              </a:rPr>
              <a:t>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previous_cancellations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‘</a:t>
            </a:r>
          </a:p>
          <a:p>
            <a:r>
              <a:rPr lang="en-CA" sz="800" dirty="0">
                <a:solidFill>
                  <a:srgbClr val="C55A11"/>
                </a:solidFill>
                <a:latin typeface="Lato"/>
              </a:rPr>
              <a:t>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previous_bookings_not_canceled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‘</a:t>
            </a:r>
          </a:p>
          <a:p>
            <a:r>
              <a:rPr lang="en-CA" sz="800" dirty="0">
                <a:solidFill>
                  <a:srgbClr val="C55A11"/>
                </a:solidFill>
                <a:latin typeface="Lato"/>
              </a:rPr>
              <a:t>'company‘</a:t>
            </a:r>
          </a:p>
          <a:p>
            <a:r>
              <a:rPr lang="en-CA" sz="800" dirty="0">
                <a:solidFill>
                  <a:srgbClr val="C55A11"/>
                </a:solidFill>
                <a:latin typeface="Lato"/>
              </a:rPr>
              <a:t>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days_in_waiting_list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mdt_arrival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Resort_hotel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city_hotel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mrkt_seg_Corporate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mrkt_seg_Online_TA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mrkt_seg_Compmtry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mrkt_seg_Undefined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rm_tp_F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rm_tp_H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arr_mth_feb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meal_SC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depo_tp_Ref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distbn_chnl_Dir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>
                <a:solidFill>
                  <a:srgbClr val="C55A11"/>
                </a:solidFill>
                <a:latin typeface="Lato"/>
              </a:rPr>
              <a:t>assn_rm_tp_I</a:t>
            </a:r>
            <a:r>
              <a:rPr lang="en-CA" sz="800" dirty="0">
                <a:solidFill>
                  <a:srgbClr val="C55A11"/>
                </a:solidFill>
                <a:latin typeface="Lato"/>
              </a:rPr>
              <a:t>'</a:t>
            </a:r>
            <a:endParaRPr lang="en-CA" sz="800" dirty="0">
              <a:solidFill>
                <a:srgbClr val="C55A1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28844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10820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"""Train an Multilayer Perceptron (MLP) with </a:t>
            </a:r>
            <a:r>
              <a:rPr lang="en-US" dirty="0" err="1"/>
              <a:t>TensorFlow</a:t>
            </a:r>
            <a:r>
              <a:rPr lang="en-US" dirty="0"/>
              <a:t> - </a:t>
            </a:r>
            <a:r>
              <a:rPr lang="en-US" dirty="0" err="1"/>
              <a:t>Keras</a:t>
            </a:r>
            <a:r>
              <a:rPr lang="en-US" dirty="0"/>
              <a:t> API"""</a:t>
            </a:r>
            <a:endParaRPr lang="en-CA" sz="1200" dirty="0"/>
          </a:p>
          <a:p>
            <a:r>
              <a:rPr lang="fi-FI" sz="1200" dirty="0"/>
              <a:t>	Loss function, Accuracy</a:t>
            </a:r>
          </a:p>
          <a:p>
            <a:r>
              <a:rPr lang="fi-FI" sz="1200" dirty="0"/>
              <a:t>relu- [0.3609906734423616, 0.8394947]</a:t>
            </a:r>
            <a:br>
              <a:rPr lang="fi-FI" sz="1200" dirty="0"/>
            </a:br>
            <a:r>
              <a:rPr lang="fi-FI" sz="1200" dirty="0"/>
              <a:t>selu - [0.38405117149714463, 0.81708413]</a:t>
            </a:r>
            <a:br>
              <a:rPr lang="fi-FI" sz="1200" dirty="0"/>
            </a:br>
            <a:r>
              <a:rPr lang="fi-FI" sz="1200" dirty="0"/>
              <a:t>elu - [0.380795744237877, 0.8159357]</a:t>
            </a:r>
            <a:br>
              <a:rPr lang="fi-FI" sz="1200" dirty="0"/>
            </a:br>
            <a:r>
              <a:rPr lang="fi-FI" sz="1200" dirty="0"/>
              <a:t>tanh - [0.39610912362878786, 0.81432164]</a:t>
            </a:r>
            <a:br>
              <a:rPr lang="fi-FI" sz="1200" dirty="0"/>
            </a:br>
            <a:r>
              <a:rPr lang="fi-FI" sz="1200" dirty="0"/>
              <a:t>relu (optimized)- [0.3583572881965955, 0.82940686]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954216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2399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972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929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144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4607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53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1671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560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3014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390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701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EFA27-4C0C-4355-BF1A-BEDB2BBEF86D}" type="datetimeFigureOut">
              <a:rPr lang="en-US" smtClean="0"/>
              <a:t>4/7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76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i.ytimg.com/vi/Viyp58DMGng/maxresdefault.jp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gif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diagramQuickStyle" Target="../diagrams/quickStyle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12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diagramData" Target="../diagrams/data1.xml"/><Relationship Id="rId5" Type="http://schemas.openxmlformats.org/officeDocument/2006/relationships/tags" Target="../tags/tag5.xml"/><Relationship Id="rId15" Type="http://schemas.microsoft.com/office/2007/relationships/diagramDrawing" Target="../diagrams/drawing1.xml"/><Relationship Id="rId10" Type="http://schemas.openxmlformats.org/officeDocument/2006/relationships/hyperlink" Target="https://www.kaggle.com/jessemostipak/hotel-booking-demand" TargetMode="External"/><Relationship Id="rId4" Type="http://schemas.openxmlformats.org/officeDocument/2006/relationships/tags" Target="../tags/tag4.xml"/><Relationship Id="rId9" Type="http://schemas.openxmlformats.org/officeDocument/2006/relationships/image" Target="../media/image6.jpeg"/><Relationship Id="rId14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image" Target="../media/image8.png"/><Relationship Id="rId7" Type="http://schemas.openxmlformats.org/officeDocument/2006/relationships/diagramLayout" Target="../diagrams/layout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2.xml"/><Relationship Id="rId5" Type="http://schemas.openxmlformats.org/officeDocument/2006/relationships/image" Target="../media/image10.png"/><Relationship Id="rId10" Type="http://schemas.microsoft.com/office/2007/relationships/diagramDrawing" Target="../diagrams/drawing2.xml"/><Relationship Id="rId4" Type="http://schemas.openxmlformats.org/officeDocument/2006/relationships/image" Target="../media/image9.png"/><Relationship Id="rId9" Type="http://schemas.openxmlformats.org/officeDocument/2006/relationships/diagramColors" Target="../diagrams/colors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11.pn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10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microsoft.com/office/2007/relationships/diagramDrawing" Target="../diagrams/drawing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4.png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2.xml"/><Relationship Id="rId12" Type="http://schemas.microsoft.com/office/2007/relationships/diagramDrawing" Target="../diagrams/drawing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diagramColors" Target="../diagrams/colors4.xml"/><Relationship Id="rId5" Type="http://schemas.openxmlformats.org/officeDocument/2006/relationships/tags" Target="../tags/tag11.xml"/><Relationship Id="rId10" Type="http://schemas.openxmlformats.org/officeDocument/2006/relationships/diagramQuickStyle" Target="../diagrams/quickStyle4.xml"/><Relationship Id="rId4" Type="http://schemas.openxmlformats.org/officeDocument/2006/relationships/tags" Target="../tags/tag10.xml"/><Relationship Id="rId9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image" Target="../media/image15.png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2.xml"/><Relationship Id="rId12" Type="http://schemas.microsoft.com/office/2007/relationships/diagramDrawing" Target="../diagrams/drawing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diagramColors" Target="../diagrams/colors5.xml"/><Relationship Id="rId5" Type="http://schemas.openxmlformats.org/officeDocument/2006/relationships/tags" Target="../tags/tag17.xml"/><Relationship Id="rId10" Type="http://schemas.openxmlformats.org/officeDocument/2006/relationships/diagramQuickStyle" Target="../diagrams/quickStyle5.xml"/><Relationship Id="rId4" Type="http://schemas.openxmlformats.org/officeDocument/2006/relationships/tags" Target="../tags/tag16.xml"/><Relationship Id="rId9" Type="http://schemas.openxmlformats.org/officeDocument/2006/relationships/diagramLayout" Target="../diagrams/layout5.xml"/><Relationship Id="rId1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19.emf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10" Type="http://schemas.openxmlformats.org/officeDocument/2006/relationships/image" Target="../media/image21.png"/><Relationship Id="rId4" Type="http://schemas.openxmlformats.org/officeDocument/2006/relationships/diagramData" Target="../diagrams/data7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uxury Hotel in Crete Greece, Amirandes Grecotel Hotels ...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6295"/>
          <a:stretch/>
        </p:blipFill>
        <p:spPr>
          <a:xfrm>
            <a:off x="0" y="1"/>
            <a:ext cx="12192000" cy="4368800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427771" y="4378443"/>
            <a:ext cx="11376302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4000" dirty="0">
                <a:solidFill>
                  <a:schemeClr val="accent2">
                    <a:lumMod val="75000"/>
                  </a:schemeClr>
                </a:solidFill>
              </a:rPr>
              <a:t>Predicting Pricing and Cancellation for Hotel Reservations</a:t>
            </a:r>
          </a:p>
          <a:p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CA" sz="2000" dirty="0">
                <a:solidFill>
                  <a:schemeClr val="accent2">
                    <a:lumMod val="75000"/>
                  </a:schemeClr>
                </a:solidFill>
              </a:rPr>
              <a:t>Course Name: SCS 3253-24 Machine Learning</a:t>
            </a:r>
          </a:p>
          <a:p>
            <a:r>
              <a:rPr lang="en-CA" sz="2000" dirty="0">
                <a:solidFill>
                  <a:schemeClr val="accent2">
                    <a:lumMod val="75000"/>
                  </a:schemeClr>
                </a:solidFill>
              </a:rPr>
              <a:t>Instructor: Matt MacDonald</a:t>
            </a:r>
          </a:p>
          <a:p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Apr 7</a:t>
            </a:r>
            <a:r>
              <a:rPr lang="en-CA" sz="1600" baseline="30000" dirty="0">
                <a:solidFill>
                  <a:schemeClr val="accent2">
                    <a:lumMod val="75000"/>
                  </a:schemeClr>
                </a:solidFill>
              </a:rPr>
              <a:t>th</a:t>
            </a:r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 2020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994499" y="5276323"/>
            <a:ext cx="3003538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chemeClr val="accent2">
                    <a:lumMod val="75000"/>
                  </a:schemeClr>
                </a:solidFill>
              </a:rPr>
              <a:t>By: </a:t>
            </a:r>
          </a:p>
          <a:p>
            <a:r>
              <a:rPr lang="en-CA" sz="2000" dirty="0" err="1">
                <a:solidFill>
                  <a:schemeClr val="accent2">
                    <a:lumMod val="75000"/>
                  </a:schemeClr>
                </a:solidFill>
              </a:rPr>
              <a:t>Farrukh</a:t>
            </a:r>
            <a:r>
              <a:rPr lang="en-CA" sz="2000" dirty="0">
                <a:solidFill>
                  <a:schemeClr val="accent2">
                    <a:lumMod val="75000"/>
                  </a:schemeClr>
                </a:solidFill>
              </a:rPr>
              <a:t> Aziz</a:t>
            </a:r>
          </a:p>
          <a:p>
            <a:r>
              <a:rPr lang="en-CA" sz="2000" dirty="0">
                <a:solidFill>
                  <a:schemeClr val="accent2">
                    <a:lumMod val="75000"/>
                  </a:schemeClr>
                </a:solidFill>
              </a:rPr>
              <a:t>Harkaran Singh </a:t>
            </a:r>
          </a:p>
          <a:p>
            <a:r>
              <a:rPr lang="en-CA" sz="2000" dirty="0">
                <a:solidFill>
                  <a:schemeClr val="accent2">
                    <a:lumMod val="75000"/>
                  </a:schemeClr>
                </a:solidFill>
              </a:rPr>
              <a:t>Sandeep </a:t>
            </a:r>
            <a:r>
              <a:rPr lang="en-CA" sz="2000" dirty="0" err="1">
                <a:solidFill>
                  <a:schemeClr val="accent2">
                    <a:lumMod val="75000"/>
                  </a:schemeClr>
                </a:solidFill>
              </a:rPr>
              <a:t>Borkar</a:t>
            </a:r>
            <a:endParaRPr lang="en-CA" sz="20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CA" sz="2000" dirty="0" err="1">
                <a:solidFill>
                  <a:schemeClr val="accent2">
                    <a:lumMod val="75000"/>
                  </a:schemeClr>
                </a:solidFill>
              </a:rPr>
              <a:t>Vijaya</a:t>
            </a:r>
            <a:r>
              <a:rPr lang="en-CA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CA" sz="2000" dirty="0" err="1">
                <a:solidFill>
                  <a:schemeClr val="accent2">
                    <a:lumMod val="75000"/>
                  </a:schemeClr>
                </a:solidFill>
              </a:rPr>
              <a:t>Chennupati</a:t>
            </a:r>
            <a:endParaRPr lang="en-CA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893455" y="6689432"/>
            <a:ext cx="23552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Pic link: </a:t>
            </a:r>
            <a:r>
              <a:rPr lang="en-CA" sz="600" dirty="0">
                <a:solidFill>
                  <a:schemeClr val="accent2">
                    <a:lumMod val="60000"/>
                    <a:lumOff val="40000"/>
                  </a:schemeClr>
                </a:solidFill>
                <a:hlinkClick r:id="rId4"/>
              </a:rPr>
              <a:t>https://i.ytimg.com/vi/Viyp58DMGng/maxresdefault.jpg</a:t>
            </a:r>
            <a:endParaRPr lang="en-CA" sz="6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8497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200" kern="0" dirty="0">
                <a:solidFill>
                  <a:schemeClr val="accent2">
                    <a:lumMod val="75000"/>
                  </a:schemeClr>
                </a:solidFill>
              </a:rPr>
              <a:t>Conclus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" name="Pentagon 18"/>
          <p:cNvSpPr>
            <a:spLocks noChangeArrowheads="1"/>
          </p:cNvSpPr>
          <p:nvPr/>
        </p:nvSpPr>
        <p:spPr bwMode="auto">
          <a:xfrm>
            <a:off x="287482" y="1093509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Applications of the Model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287481" y="1480043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CA" sz="1400" b="0" dirty="0">
                <a:solidFill>
                  <a:srgbClr val="C55A11"/>
                </a:solidFill>
              </a:rPr>
              <a:t>As a customer, predict the price of hotel and plan vacation</a:t>
            </a:r>
          </a:p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CA" sz="1400" b="0" dirty="0">
                <a:solidFill>
                  <a:srgbClr val="C55A11"/>
                </a:solidFill>
              </a:rPr>
              <a:t>As a hotel owner, predict whether a reservation will be cancelled to enable</a:t>
            </a:r>
          </a:p>
          <a:p>
            <a:pPr marL="625475" lvl="2" indent="-17145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CA" b="0" dirty="0">
                <a:solidFill>
                  <a:srgbClr val="C55A11"/>
                </a:solidFill>
              </a:rPr>
              <a:t>Better Logistics planning</a:t>
            </a:r>
          </a:p>
          <a:p>
            <a:pPr marL="625475" lvl="2" indent="-17145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CA" b="0" dirty="0">
                <a:solidFill>
                  <a:srgbClr val="C55A11"/>
                </a:solidFill>
              </a:rPr>
              <a:t>Estimation of overbooking required</a:t>
            </a:r>
          </a:p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CA" sz="1400" b="0" dirty="0">
                <a:solidFill>
                  <a:srgbClr val="C55A11"/>
                </a:solidFill>
              </a:rPr>
              <a:t>Potential to replicate in other reservation related transactions</a:t>
            </a:r>
          </a:p>
        </p:txBody>
      </p:sp>
      <p:sp>
        <p:nvSpPr>
          <p:cNvPr id="27" name="Pentagon 26"/>
          <p:cNvSpPr>
            <a:spLocks noChangeArrowheads="1"/>
          </p:cNvSpPr>
          <p:nvPr/>
        </p:nvSpPr>
        <p:spPr bwMode="auto">
          <a:xfrm>
            <a:off x="5822587" y="1093509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ea typeface="ＭＳ Ｐゴシック" pitchFamily="34" charset="-128"/>
              </a:rPr>
              <a:t>Model Limitations</a:t>
            </a:r>
          </a:p>
        </p:txBody>
      </p:sp>
      <p:sp>
        <p:nvSpPr>
          <p:cNvPr id="28" name="Content Placeholder 2"/>
          <p:cNvSpPr txBox="1">
            <a:spLocks/>
          </p:cNvSpPr>
          <p:nvPr/>
        </p:nvSpPr>
        <p:spPr bwMode="auto">
          <a:xfrm>
            <a:off x="5822586" y="1480043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Built on data from two hotels only, which can increase the chances of overfitting</a:t>
            </a: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Method of removing outliers chosen was 1.5 IQR from Q1 and Q3, which could lead to loss of data</a:t>
            </a: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Potential loss of data due to removing ‘Country’ data : blank and less than 100 data points</a:t>
            </a:r>
          </a:p>
        </p:txBody>
      </p:sp>
      <p:sp>
        <p:nvSpPr>
          <p:cNvPr id="29" name="Pentagon 28"/>
          <p:cNvSpPr>
            <a:spLocks noChangeArrowheads="1"/>
          </p:cNvSpPr>
          <p:nvPr/>
        </p:nvSpPr>
        <p:spPr bwMode="auto">
          <a:xfrm>
            <a:off x="287482" y="3670658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Challenges and Learnings</a:t>
            </a:r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auto">
          <a:xfrm>
            <a:off x="287481" y="4057192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Machine limitation leading to</a:t>
            </a:r>
          </a:p>
          <a:p>
            <a:pPr lvl="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 b="0" dirty="0">
                <a:solidFill>
                  <a:srgbClr val="C55A11"/>
                </a:solidFill>
              </a:rPr>
              <a:t>Restriction in using range of hypermeters</a:t>
            </a:r>
          </a:p>
          <a:p>
            <a:pPr lvl="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 b="0" dirty="0">
                <a:solidFill>
                  <a:srgbClr val="C55A11"/>
                </a:solidFill>
              </a:rPr>
              <a:t>Unable to use models like Gradient boost and </a:t>
            </a:r>
            <a:r>
              <a:rPr lang="en-US" b="0" dirty="0" err="1">
                <a:solidFill>
                  <a:srgbClr val="C55A11"/>
                </a:solidFill>
              </a:rPr>
              <a:t>Adaboost</a:t>
            </a:r>
            <a:endParaRPr lang="en-US" b="0" dirty="0">
              <a:solidFill>
                <a:srgbClr val="C55A11"/>
              </a:solidFill>
            </a:endParaRPr>
          </a:p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Virtual working during COVID-19</a:t>
            </a:r>
          </a:p>
          <a:p>
            <a:pPr lvl="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 b="0" dirty="0">
                <a:solidFill>
                  <a:srgbClr val="C55A11"/>
                </a:solidFill>
              </a:rPr>
              <a:t>Identified virtual work tools</a:t>
            </a:r>
          </a:p>
        </p:txBody>
      </p:sp>
      <p:sp>
        <p:nvSpPr>
          <p:cNvPr id="31" name="Pentagon 30"/>
          <p:cNvSpPr>
            <a:spLocks noChangeArrowheads="1"/>
          </p:cNvSpPr>
          <p:nvPr/>
        </p:nvSpPr>
        <p:spPr bwMode="auto">
          <a:xfrm>
            <a:off x="5822587" y="3670658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ea typeface="ＭＳ Ｐゴシック" pitchFamily="34" charset="-128"/>
              </a:rPr>
              <a:t>Future Enhancements</a:t>
            </a:r>
          </a:p>
        </p:txBody>
      </p:sp>
      <p:sp>
        <p:nvSpPr>
          <p:cNvPr id="32" name="Content Placeholder 2"/>
          <p:cNvSpPr txBox="1">
            <a:spLocks/>
          </p:cNvSpPr>
          <p:nvPr/>
        </p:nvSpPr>
        <p:spPr bwMode="auto">
          <a:xfrm>
            <a:off x="5822586" y="4057192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Apply similar steps for any reservation related model, including flight reservation, appointment reservation etc.</a:t>
            </a: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Can be generalized to any regression and classification problem as our model covers both methods in depth</a:t>
            </a: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Scope for further research to identify underlying clusters in the data</a:t>
            </a: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272355845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368821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uxury Hotel in Crete Greece, Amirandes Grecotel Hotels ..."/>
          <p:cNvPicPr>
            <a:picLocks noChangeAspect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6295"/>
          <a:stretch/>
        </p:blipFill>
        <p:spPr>
          <a:xfrm>
            <a:off x="0" y="1"/>
            <a:ext cx="12192000" cy="43688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16935" y="4978806"/>
            <a:ext cx="113763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CA" sz="4000" dirty="0">
                <a:solidFill>
                  <a:schemeClr val="accent2">
                    <a:lumMod val="75000"/>
                  </a:schemeClr>
                </a:solidFill>
              </a:rPr>
              <a:t>Thank You!</a:t>
            </a:r>
            <a:endParaRPr lang="en-CA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750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oogle Shape;302;p47"/>
          <p:cNvPicPr preferRelativeResize="0"/>
          <p:nvPr/>
        </p:nvPicPr>
        <p:blipFill rotWithShape="1">
          <a:blip r:embed="rId2">
            <a:alphaModFix/>
          </a:blip>
          <a:srcRect b="14429"/>
          <a:stretch/>
        </p:blipFill>
        <p:spPr>
          <a:xfrm>
            <a:off x="1" y="1805531"/>
            <a:ext cx="12191999" cy="5052469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12;p47"/>
          <p:cNvSpPr/>
          <p:nvPr/>
        </p:nvSpPr>
        <p:spPr>
          <a:xfrm>
            <a:off x="91469" y="3581115"/>
            <a:ext cx="1653884" cy="5271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dentify</a:t>
            </a:r>
            <a:r>
              <a:rPr kumimoji="0" lang="en-CA" sz="1400" b="1" i="0" u="none" strike="noStrike" kern="0" cap="none" spc="0" normalizeH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Problem and Applicat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3;p47"/>
          <p:cNvSpPr/>
          <p:nvPr/>
        </p:nvSpPr>
        <p:spPr>
          <a:xfrm>
            <a:off x="2009735" y="3318252"/>
            <a:ext cx="2065219" cy="3773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>
              <a:lnSpc>
                <a:spcPct val="114000"/>
              </a:lnSpc>
              <a:buSzPts val="1400"/>
              <a:defRPr/>
            </a:pPr>
            <a:r>
              <a:rPr lang="en-US" b="1" kern="0" dirty="0">
                <a:solidFill>
                  <a:schemeClr val="accent2">
                    <a:lumMod val="75000"/>
                  </a:schemeClr>
                </a:solidFill>
              </a:rPr>
              <a:t>Data Exploration &amp; Feature Engineering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314;p47"/>
          <p:cNvSpPr/>
          <p:nvPr/>
        </p:nvSpPr>
        <p:spPr>
          <a:xfrm>
            <a:off x="4262668" y="3064573"/>
            <a:ext cx="1566885" cy="374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eature Scaling</a:t>
            </a:r>
            <a:r>
              <a:rPr kumimoji="0" lang="en-CA" sz="1400" b="1" i="0" u="none" strike="noStrike" kern="0" cap="none" spc="0" normalizeH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and Reduct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15;p47"/>
          <p:cNvSpPr/>
          <p:nvPr/>
        </p:nvSpPr>
        <p:spPr>
          <a:xfrm>
            <a:off x="6002496" y="2669876"/>
            <a:ext cx="1395479" cy="39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gression Model: Select,</a:t>
            </a:r>
            <a:r>
              <a:rPr kumimoji="0" lang="en-CA" sz="1400" b="1" i="0" u="none" strike="noStrike" kern="0" cap="none" spc="0" normalizeH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CA" sz="14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rain &amp; Tune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4" name="Google Shape;316;p47"/>
          <p:cNvGrpSpPr/>
          <p:nvPr/>
        </p:nvGrpSpPr>
        <p:grpSpPr>
          <a:xfrm>
            <a:off x="1425584" y="4095453"/>
            <a:ext cx="684000" cy="684000"/>
            <a:chOff x="2966930" y="2044873"/>
            <a:chExt cx="684000" cy="684000"/>
          </a:xfrm>
        </p:grpSpPr>
        <p:pic>
          <p:nvPicPr>
            <p:cNvPr id="40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6" name="Google Shape;324;p47"/>
          <p:cNvSpPr/>
          <p:nvPr/>
        </p:nvSpPr>
        <p:spPr>
          <a:xfrm>
            <a:off x="7720031" y="1758352"/>
            <a:ext cx="1902827" cy="39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nclus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6407944" y="4623929"/>
            <a:ext cx="5633731" cy="212785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tIns="0" bIns="0" rtlCol="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marR="0" lvl="0" indent="0" algn="ctr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CA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50" name="Google Shape;316;p47"/>
          <p:cNvGrpSpPr/>
          <p:nvPr/>
        </p:nvGrpSpPr>
        <p:grpSpPr>
          <a:xfrm>
            <a:off x="3281975" y="3726676"/>
            <a:ext cx="684000" cy="684000"/>
            <a:chOff x="2966930" y="2044873"/>
            <a:chExt cx="684000" cy="684000"/>
          </a:xfrm>
        </p:grpSpPr>
        <p:pic>
          <p:nvPicPr>
            <p:cNvPr id="51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2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3" name="Google Shape;316;p47"/>
          <p:cNvGrpSpPr/>
          <p:nvPr/>
        </p:nvGrpSpPr>
        <p:grpSpPr>
          <a:xfrm>
            <a:off x="5102559" y="3445839"/>
            <a:ext cx="684000" cy="684000"/>
            <a:chOff x="2966930" y="2044873"/>
            <a:chExt cx="684000" cy="684000"/>
          </a:xfrm>
        </p:grpSpPr>
        <p:pic>
          <p:nvPicPr>
            <p:cNvPr id="54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5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6" name="Google Shape;316;p47"/>
          <p:cNvGrpSpPr/>
          <p:nvPr/>
        </p:nvGrpSpPr>
        <p:grpSpPr>
          <a:xfrm>
            <a:off x="6812309" y="3187567"/>
            <a:ext cx="684000" cy="684000"/>
            <a:chOff x="2966930" y="2044873"/>
            <a:chExt cx="684000" cy="684000"/>
          </a:xfrm>
        </p:grpSpPr>
        <p:pic>
          <p:nvPicPr>
            <p:cNvPr id="57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8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9" name="Google Shape;316;p47"/>
          <p:cNvGrpSpPr/>
          <p:nvPr/>
        </p:nvGrpSpPr>
        <p:grpSpPr>
          <a:xfrm>
            <a:off x="9127816" y="1774465"/>
            <a:ext cx="684000" cy="684000"/>
            <a:chOff x="2966930" y="2044873"/>
            <a:chExt cx="684000" cy="684000"/>
          </a:xfrm>
        </p:grpSpPr>
        <p:pic>
          <p:nvPicPr>
            <p:cNvPr id="60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1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109" y="1641491"/>
            <a:ext cx="729240" cy="477960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10267036" y="720436"/>
            <a:ext cx="1847031" cy="92757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dirty="0"/>
              <a:t>Two Prediction Models for Pricing and Cancellation of Hotel Reservation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0267977" y="1648007"/>
            <a:ext cx="45719" cy="302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12068319" y="1623262"/>
            <a:ext cx="45719" cy="302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CA" sz="3200" dirty="0">
                <a:solidFill>
                  <a:schemeClr val="accent2">
                    <a:lumMod val="75000"/>
                  </a:schemeClr>
                </a:solidFill>
              </a:rPr>
              <a:t>Project Journey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707575" y="980931"/>
            <a:ext cx="7704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" name="Google Shape;315;p47"/>
          <p:cNvSpPr/>
          <p:nvPr/>
        </p:nvSpPr>
        <p:spPr>
          <a:xfrm>
            <a:off x="7450614" y="2737771"/>
            <a:ext cx="1395479" cy="39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>
              <a:lnSpc>
                <a:spcPct val="114000"/>
              </a:lnSpc>
              <a:buSzPts val="1400"/>
              <a:defRPr/>
            </a:pPr>
            <a:r>
              <a:rPr lang="fr-FR" b="1" kern="0" dirty="0">
                <a:solidFill>
                  <a:schemeClr val="accent2">
                    <a:lumMod val="75000"/>
                  </a:schemeClr>
                </a:solidFill>
              </a:rPr>
              <a:t>Classification Model: Select, Train &amp; Tune</a:t>
            </a:r>
          </a:p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3" name="Google Shape;316;p47"/>
          <p:cNvGrpSpPr/>
          <p:nvPr/>
        </p:nvGrpSpPr>
        <p:grpSpPr>
          <a:xfrm>
            <a:off x="8688840" y="2909998"/>
            <a:ext cx="684000" cy="684000"/>
            <a:chOff x="2966930" y="2044873"/>
            <a:chExt cx="684000" cy="684000"/>
          </a:xfrm>
        </p:grpSpPr>
        <p:pic>
          <p:nvPicPr>
            <p:cNvPr id="44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5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481832" y="4948433"/>
            <a:ext cx="231666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Regression Models:</a:t>
            </a:r>
          </a:p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1. Linear Regression</a:t>
            </a:r>
          </a:p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2. </a:t>
            </a:r>
            <a:r>
              <a:rPr lang="en-CA" sz="1200" kern="0" dirty="0">
                <a:solidFill>
                  <a:srgbClr val="FFFFFF"/>
                </a:solidFill>
              </a:rPr>
              <a:t>SGD Regression</a:t>
            </a:r>
          </a:p>
          <a:p>
            <a:r>
              <a:rPr lang="en-CA" sz="1200" kern="0" dirty="0">
                <a:solidFill>
                  <a:schemeClr val="bg1"/>
                </a:solidFill>
              </a:rPr>
              <a:t>3. Random Forest Regression</a:t>
            </a:r>
          </a:p>
          <a:p>
            <a:r>
              <a:rPr lang="en-CA" sz="1200" kern="0" dirty="0">
                <a:solidFill>
                  <a:schemeClr val="bg1"/>
                </a:solidFill>
              </a:rPr>
              <a:t>4. Elastic Net</a:t>
            </a:r>
          </a:p>
          <a:p>
            <a:r>
              <a:rPr lang="en-CA" sz="1200" kern="0" dirty="0">
                <a:solidFill>
                  <a:schemeClr val="bg1"/>
                </a:solidFill>
              </a:rPr>
              <a:t>5. Ada Boost Regression</a:t>
            </a:r>
          </a:p>
          <a:p>
            <a:r>
              <a:rPr lang="en-CA" sz="1200" kern="0" dirty="0">
                <a:solidFill>
                  <a:schemeClr val="bg1"/>
                </a:solidFill>
              </a:rPr>
              <a:t>6. Support Vector Regression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728895" y="4953955"/>
            <a:ext cx="21921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kern="0" dirty="0">
                <a:solidFill>
                  <a:schemeClr val="bg1"/>
                </a:solidFill>
              </a:rPr>
              <a:t>Classification Models</a:t>
            </a:r>
          </a:p>
          <a:p>
            <a:r>
              <a:rPr lang="en-CA" sz="1200" dirty="0">
                <a:solidFill>
                  <a:schemeClr val="bg1"/>
                </a:solidFill>
              </a:rPr>
              <a:t>7.  K-Neighbors Classifier</a:t>
            </a:r>
          </a:p>
          <a:p>
            <a:r>
              <a:rPr lang="en-CA" sz="1200" dirty="0">
                <a:solidFill>
                  <a:schemeClr val="bg1"/>
                </a:solidFill>
              </a:rPr>
              <a:t>8. Logistic Regression</a:t>
            </a:r>
          </a:p>
          <a:p>
            <a:r>
              <a:rPr lang="en-CA" sz="1200" dirty="0">
                <a:solidFill>
                  <a:schemeClr val="bg1"/>
                </a:solidFill>
              </a:rPr>
              <a:t>9. Random Forest Classifier</a:t>
            </a:r>
          </a:p>
          <a:p>
            <a:r>
              <a:rPr lang="en-CA" sz="1200" dirty="0">
                <a:solidFill>
                  <a:schemeClr val="bg1"/>
                </a:solidFill>
              </a:rPr>
              <a:t>10. Support Vector Classifier</a:t>
            </a:r>
          </a:p>
          <a:p>
            <a:r>
              <a:rPr lang="en-CA" sz="1200" dirty="0">
                <a:solidFill>
                  <a:schemeClr val="bg1"/>
                </a:solidFill>
              </a:rPr>
              <a:t>11. Decision Tree Classifier</a:t>
            </a:r>
          </a:p>
          <a:p>
            <a:r>
              <a:rPr lang="en-CA" sz="1200" dirty="0">
                <a:solidFill>
                  <a:schemeClr val="bg1"/>
                </a:solidFill>
              </a:rPr>
              <a:t>12. Voting Classifier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0895846" y="4953955"/>
            <a:ext cx="11458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Other Tools</a:t>
            </a:r>
          </a:p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13. RFECV</a:t>
            </a:r>
          </a:p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14. K-best </a:t>
            </a:r>
          </a:p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15. PCA </a:t>
            </a:r>
          </a:p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16. Grid Search CV</a:t>
            </a:r>
          </a:p>
        </p:txBody>
      </p:sp>
      <p:sp>
        <p:nvSpPr>
          <p:cNvPr id="3" name="Rectangle 2"/>
          <p:cNvSpPr/>
          <p:nvPr/>
        </p:nvSpPr>
        <p:spPr>
          <a:xfrm>
            <a:off x="8001323" y="6453128"/>
            <a:ext cx="15744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kern="0" dirty="0">
                <a:solidFill>
                  <a:schemeClr val="bg1"/>
                </a:solidFill>
              </a:rPr>
              <a:t>17. Neural Networks</a:t>
            </a:r>
            <a:endParaRPr lang="en-US" sz="1200" kern="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409739" y="4595114"/>
            <a:ext cx="3651962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lnSpc>
                <a:spcPct val="120000"/>
              </a:lnSpc>
              <a:buClr>
                <a:srgbClr val="000000"/>
              </a:buClr>
              <a:defRPr/>
            </a:pPr>
            <a:r>
              <a:rPr lang="en-CA" sz="1400" b="1" kern="0" dirty="0">
                <a:solidFill>
                  <a:srgbClr val="FFFFFF"/>
                </a:solidFill>
                <a:sym typeface="Arial"/>
              </a:rPr>
              <a:t>Models and Data Exploration Tools Used</a:t>
            </a:r>
          </a:p>
        </p:txBody>
      </p:sp>
    </p:spTree>
    <p:extLst>
      <p:ext uri="{BB962C8B-B14F-4D97-AF65-F5344CB8AC3E}">
        <p14:creationId xmlns:p14="http://schemas.microsoft.com/office/powerpoint/2010/main" val="164192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914" y="1623550"/>
            <a:ext cx="1063997" cy="950446"/>
          </a:xfrm>
          <a:prstGeom prst="rect">
            <a:avLst/>
          </a:prstGeom>
        </p:spPr>
      </p:pic>
      <p:pic>
        <p:nvPicPr>
          <p:cNvPr id="4" name="Picture 12" descr="https://brand.telus.com/sites/default/files/Utilities_RGB_PU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196" y="1652152"/>
            <a:ext cx="990188" cy="921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CA" sz="3200" dirty="0">
                <a:solidFill>
                  <a:schemeClr val="accent2">
                    <a:lumMod val="75000"/>
                  </a:schemeClr>
                </a:solidFill>
              </a:rPr>
              <a:t>Identify Problem and its Application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Google Shape;161;p3"/>
          <p:cNvSpPr/>
          <p:nvPr/>
        </p:nvSpPr>
        <p:spPr>
          <a:xfrm>
            <a:off x="417364" y="1260149"/>
            <a:ext cx="11257396" cy="2064942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Google Shape;163;p3"/>
          <p:cNvSpPr txBox="1"/>
          <p:nvPr/>
        </p:nvSpPr>
        <p:spPr>
          <a:xfrm>
            <a:off x="910771" y="1088882"/>
            <a:ext cx="5951847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I</a:t>
            </a:r>
            <a:r>
              <a:rPr kumimoji="0" lang="en-CA" sz="2000" b="0" i="0" u="none" strike="noStrike" kern="0" cap="none" spc="0" normalizeH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mportant factors while making a hotel reservation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17915" y="2518540"/>
            <a:ext cx="1223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For Customer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01755" y="2518540"/>
            <a:ext cx="1223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For Busines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282461" y="1628367"/>
            <a:ext cx="2243023" cy="105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2000" b="1" dirty="0">
                <a:solidFill>
                  <a:schemeClr val="accent2">
                    <a:lumMod val="75000"/>
                  </a:schemeClr>
                </a:solidFill>
              </a:rPr>
              <a:t>Price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Location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Reservation D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976679" y="1623550"/>
            <a:ext cx="2414226" cy="105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2000" b="1" dirty="0">
                <a:solidFill>
                  <a:schemeClr val="accent2">
                    <a:lumMod val="75000"/>
                  </a:schemeClr>
                </a:solidFill>
              </a:rPr>
              <a:t>Cancellation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Lead Time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Repeat customer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18964" y="2889160"/>
            <a:ext cx="11038032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‘Price’ and ‘Cancellation’ are the key factors for any reservation, not just hotel reservation</a:t>
            </a:r>
          </a:p>
        </p:txBody>
      </p:sp>
      <p:sp>
        <p:nvSpPr>
          <p:cNvPr id="26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15275" y="4260389"/>
            <a:ext cx="2988128" cy="16007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7" name="Rectangle 2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45555" y="4260389"/>
            <a:ext cx="2988128" cy="16007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8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180358" y="4260389"/>
            <a:ext cx="2988128" cy="16007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1115275" y="3916910"/>
            <a:ext cx="2988128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4645555" y="3916910"/>
            <a:ext cx="2988128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31" name="Rectangle 3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8180358" y="3916910"/>
            <a:ext cx="2988128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477656" y="3952611"/>
            <a:ext cx="2275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>
                <a:solidFill>
                  <a:srgbClr val="FFFFFF"/>
                </a:solidFill>
              </a:rPr>
              <a:t>Identified the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525484" y="3933204"/>
            <a:ext cx="3233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>
                <a:solidFill>
                  <a:srgbClr val="FFFFFF"/>
                </a:solidFill>
              </a:rPr>
              <a:t>Identified the target variable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303484" y="3933204"/>
            <a:ext cx="27154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>
                <a:solidFill>
                  <a:srgbClr val="FFFFFF"/>
                </a:solidFill>
              </a:rPr>
              <a:t>Application in industry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115274" y="4337841"/>
            <a:ext cx="29836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Data Source – </a:t>
            </a: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Kaggle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Link to Data Source</a:t>
            </a:r>
          </a:p>
          <a:p>
            <a:pPr>
              <a:lnSpc>
                <a:spcPct val="150000"/>
              </a:lnSpc>
            </a:pPr>
            <a:r>
              <a:rPr lang="en-CA" sz="1200" u="sng" dirty="0">
                <a:solidFill>
                  <a:schemeClr val="accent2">
                    <a:lumMod val="75000"/>
                  </a:schemeClr>
                </a:solidFill>
                <a:hlinkClick r:id="rId10"/>
              </a:rPr>
              <a:t>https://www.kaggle.com/jessemostipak/hotel-booking-demand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645555" y="4337841"/>
            <a:ext cx="29881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ADR (Average Daily Rat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Numerical varia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Predict the price of hotel</a:t>
            </a:r>
          </a:p>
          <a:p>
            <a:pPr lvl="1"/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Is Cancelled?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Categorical varia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Predict whether a reservation will be cancelled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8195910" y="4337841"/>
            <a:ext cx="29725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‘Pricing’ and ‘cancellation’ are key parameters for any reserv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Opportunity to replicate in other industries involving reserv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Potential to standardize prediction models for Tourism industry</a:t>
            </a:r>
          </a:p>
        </p:txBody>
      </p:sp>
      <p:sp>
        <p:nvSpPr>
          <p:cNvPr id="38" name="Google Shape;161;p3"/>
          <p:cNvSpPr/>
          <p:nvPr/>
        </p:nvSpPr>
        <p:spPr>
          <a:xfrm>
            <a:off x="417364" y="3610636"/>
            <a:ext cx="11257396" cy="2830899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9" name="Google Shape;163;p3"/>
          <p:cNvSpPr txBox="1"/>
          <p:nvPr/>
        </p:nvSpPr>
        <p:spPr>
          <a:xfrm>
            <a:off x="910771" y="3439370"/>
            <a:ext cx="538842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Problem Identification and its Applicability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40" name="Right Arrow 39"/>
          <p:cNvSpPr/>
          <p:nvPr/>
        </p:nvSpPr>
        <p:spPr>
          <a:xfrm>
            <a:off x="4105195" y="5270193"/>
            <a:ext cx="54215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4" name="Rectangle 43"/>
          <p:cNvSpPr/>
          <p:nvPr/>
        </p:nvSpPr>
        <p:spPr>
          <a:xfrm>
            <a:off x="518964" y="6061682"/>
            <a:ext cx="11038032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bg1"/>
                </a:solidFill>
              </a:rPr>
              <a:t>Two Target Variables to Predict: (1) Average Daily Rate (2) Will it be a Cancellation</a:t>
            </a:r>
          </a:p>
        </p:txBody>
      </p:sp>
      <p:sp>
        <p:nvSpPr>
          <p:cNvPr id="43" name="Right Arrow 42"/>
          <p:cNvSpPr/>
          <p:nvPr/>
        </p:nvSpPr>
        <p:spPr>
          <a:xfrm>
            <a:off x="7636746" y="5265003"/>
            <a:ext cx="54215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1" name="Diagram 40"/>
          <p:cNvGraphicFramePr/>
          <p:nvPr>
            <p:extLst>
              <p:ext uri="{D42A27DB-BD31-4B8C-83A1-F6EECF244321}">
                <p14:modId xmlns:p14="http://schemas.microsoft.com/office/powerpoint/2010/main" val="146542289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2023065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CA" sz="3200" dirty="0">
                <a:solidFill>
                  <a:schemeClr val="accent2">
                    <a:lumMod val="75000"/>
                  </a:schemeClr>
                </a:solidFill>
              </a:rPr>
              <a:t>Data Exploration and Feature Engineering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/>
          <a:srcRect l="11090" r="10645"/>
          <a:stretch/>
        </p:blipFill>
        <p:spPr>
          <a:xfrm>
            <a:off x="9058732" y="157310"/>
            <a:ext cx="3066871" cy="2427931"/>
          </a:xfrm>
          <a:prstGeom prst="rect">
            <a:avLst/>
          </a:prstGeom>
        </p:spPr>
      </p:pic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085578"/>
              </p:ext>
            </p:extLst>
          </p:nvPr>
        </p:nvGraphicFramePr>
        <p:xfrm>
          <a:off x="690107" y="1177757"/>
          <a:ext cx="8128000" cy="1123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077114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238928121"/>
                    </a:ext>
                  </a:extLst>
                </a:gridCol>
                <a:gridCol w="1883225">
                  <a:extLst>
                    <a:ext uri="{9D8B030D-6E8A-4147-A177-3AD203B41FA5}">
                      <a16:colId xmlns:a16="http://schemas.microsoft.com/office/drawing/2014/main" val="1847213319"/>
                    </a:ext>
                  </a:extLst>
                </a:gridCol>
                <a:gridCol w="2180775">
                  <a:extLst>
                    <a:ext uri="{9D8B030D-6E8A-4147-A177-3AD203B41FA5}">
                      <a16:colId xmlns:a16="http://schemas.microsoft.com/office/drawing/2014/main" val="593210437"/>
                    </a:ext>
                  </a:extLst>
                </a:gridCol>
              </a:tblGrid>
              <a:tr h="1115649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5A1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CA" sz="1600" b="1" baseline="0" dirty="0"/>
                        <a:t>I</a:t>
                      </a:r>
                      <a:r>
                        <a:rPr lang="en-CA" sz="1600" b="1" dirty="0"/>
                        <a:t>ndustry</a:t>
                      </a:r>
                      <a:r>
                        <a:rPr lang="en-CA" sz="1600" b="1" baseline="0" dirty="0"/>
                        <a:t> specific </a:t>
                      </a:r>
                      <a:r>
                        <a:rPr lang="en-CA" sz="1100" b="0" baseline="0" dirty="0"/>
                        <a:t>data related to Hospitality</a:t>
                      </a:r>
                      <a:endParaRPr lang="en-CA" sz="1050" b="0" baseline="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endParaRPr lang="en-CA" sz="500" b="0" baseline="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CA" sz="1600" b="1" baseline="0" dirty="0"/>
                        <a:t>‘Less-explored’ </a:t>
                      </a:r>
                      <a:r>
                        <a:rPr lang="en-CA" sz="1050" b="0" baseline="0" dirty="0"/>
                        <a:t>dataset in Tourism industry vis-a-vis PNR data for Aviation </a:t>
                      </a:r>
                      <a:endParaRPr lang="en-CA" sz="1050" b="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5A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224778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615231" y="1269733"/>
            <a:ext cx="21797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600" b="1" dirty="0">
                <a:solidFill>
                  <a:srgbClr val="C55A11"/>
                </a:solidFill>
              </a:rPr>
              <a:t>119390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323408" y="1285406"/>
            <a:ext cx="8110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600" b="1" dirty="0">
                <a:solidFill>
                  <a:schemeClr val="bg1"/>
                </a:solidFill>
              </a:rPr>
              <a:t>31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418825" y="1260775"/>
            <a:ext cx="6298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600" b="1" dirty="0">
                <a:solidFill>
                  <a:srgbClr val="C55A11"/>
                </a:solidFill>
              </a:rPr>
              <a:t>2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63469" y="1865290"/>
            <a:ext cx="1703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dirty="0">
                <a:solidFill>
                  <a:srgbClr val="C55A11"/>
                </a:solidFill>
              </a:rPr>
              <a:t>Number of data poin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877385" y="1907106"/>
            <a:ext cx="1703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dirty="0">
                <a:solidFill>
                  <a:schemeClr val="bg1"/>
                </a:solidFill>
              </a:rPr>
              <a:t>Number of feature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889174" y="1916064"/>
            <a:ext cx="1703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dirty="0">
                <a:solidFill>
                  <a:srgbClr val="C55A11"/>
                </a:solidFill>
              </a:rPr>
              <a:t>Number of Year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65257" y="1177757"/>
            <a:ext cx="524850" cy="112356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CA" sz="1600" b="1" dirty="0">
                <a:solidFill>
                  <a:schemeClr val="bg1"/>
                </a:solidFill>
              </a:rPr>
              <a:t>RAW DATA</a:t>
            </a:r>
          </a:p>
        </p:txBody>
      </p:sp>
      <p:sp>
        <p:nvSpPr>
          <p:cNvPr id="38" name="Down Arrow 37"/>
          <p:cNvSpPr/>
          <p:nvPr/>
        </p:nvSpPr>
        <p:spPr>
          <a:xfrm>
            <a:off x="165257" y="2321836"/>
            <a:ext cx="8733359" cy="346727"/>
          </a:xfrm>
          <a:prstGeom prst="downArrow">
            <a:avLst>
              <a:gd name="adj1" fmla="val 39061"/>
              <a:gd name="adj2" fmla="val 100000"/>
            </a:avLst>
          </a:prstGeom>
          <a:solidFill>
            <a:schemeClr val="accent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8" name="Rectangle 47"/>
          <p:cNvSpPr/>
          <p:nvPr/>
        </p:nvSpPr>
        <p:spPr>
          <a:xfrm>
            <a:off x="165259" y="2710725"/>
            <a:ext cx="524850" cy="369176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CA" b="1" dirty="0">
                <a:solidFill>
                  <a:schemeClr val="bg1"/>
                </a:solidFill>
              </a:rPr>
              <a:t>PROCESSED DATA</a:t>
            </a:r>
          </a:p>
        </p:txBody>
      </p: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690739"/>
              </p:ext>
            </p:extLst>
          </p:nvPr>
        </p:nvGraphicFramePr>
        <p:xfrm>
          <a:off x="690108" y="2710725"/>
          <a:ext cx="11265178" cy="37079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4873">
                  <a:extLst>
                    <a:ext uri="{9D8B030D-6E8A-4147-A177-3AD203B41FA5}">
                      <a16:colId xmlns:a16="http://schemas.microsoft.com/office/drawing/2014/main" val="1623610463"/>
                    </a:ext>
                  </a:extLst>
                </a:gridCol>
                <a:gridCol w="4785840">
                  <a:extLst>
                    <a:ext uri="{9D8B030D-6E8A-4147-A177-3AD203B41FA5}">
                      <a16:colId xmlns:a16="http://schemas.microsoft.com/office/drawing/2014/main" val="382114542"/>
                    </a:ext>
                  </a:extLst>
                </a:gridCol>
                <a:gridCol w="4784465">
                  <a:extLst>
                    <a:ext uri="{9D8B030D-6E8A-4147-A177-3AD203B41FA5}">
                      <a16:colId xmlns:a16="http://schemas.microsoft.com/office/drawing/2014/main" val="3250811815"/>
                    </a:ext>
                  </a:extLst>
                </a:gridCol>
              </a:tblGrid>
              <a:tr h="362413">
                <a:tc>
                  <a:txBody>
                    <a:bodyPr/>
                    <a:lstStyle/>
                    <a:p>
                      <a:pPr algn="ctr"/>
                      <a:r>
                        <a:rPr lang="en-CA" dirty="0">
                          <a:solidFill>
                            <a:srgbClr val="C55A11"/>
                          </a:solidFill>
                        </a:rPr>
                        <a:t>Data Clean-Up</a:t>
                      </a: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dirty="0">
                          <a:solidFill>
                            <a:srgbClr val="C55A11"/>
                          </a:solidFill>
                        </a:rPr>
                        <a:t>Feature Engineering</a:t>
                      </a:r>
                    </a:p>
                  </a:txBody>
                  <a:tcPr marL="72000" marR="72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dirty="0">
                          <a:solidFill>
                            <a:srgbClr val="C55A11"/>
                          </a:solidFill>
                        </a:rPr>
                        <a:t>Outlier Removal</a:t>
                      </a:r>
                    </a:p>
                  </a:txBody>
                  <a:tcPr marL="72000" marR="72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1125100"/>
                  </a:ext>
                </a:extLst>
              </a:tr>
              <a:tr h="3327662">
                <a:tc>
                  <a:txBody>
                    <a:bodyPr/>
                    <a:lstStyle/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CA" sz="1200" dirty="0">
                          <a:solidFill>
                            <a:srgbClr val="C55A11"/>
                          </a:solidFill>
                        </a:rPr>
                        <a:t>1.</a:t>
                      </a: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 Blank</a:t>
                      </a:r>
                      <a:r>
                        <a:rPr lang="en-CA" sz="1200" dirty="0">
                          <a:solidFill>
                            <a:srgbClr val="C55A11"/>
                          </a:solidFill>
                        </a:rPr>
                        <a:t> data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CA" sz="1200" dirty="0">
                          <a:solidFill>
                            <a:srgbClr val="C55A11"/>
                          </a:solidFill>
                        </a:rPr>
                        <a:t>(a) Removed</a:t>
                      </a: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 blank ‘Country’ data (~0.4%)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(b) Replaced blank ‘No. Of children’ data with median value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CA" sz="1200" dirty="0">
                          <a:solidFill>
                            <a:srgbClr val="C55A11"/>
                          </a:solidFill>
                        </a:rPr>
                        <a:t>2. Insufficient data: Removed ‘Country’ data with less than 1</a:t>
                      </a: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00 data points</a:t>
                      </a:r>
                    </a:p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3. </a:t>
                      </a:r>
                      <a:r>
                        <a:rPr lang="en-CA" sz="1200" dirty="0">
                          <a:solidFill>
                            <a:srgbClr val="C55A11"/>
                          </a:solidFill>
                        </a:rPr>
                        <a:t>Deleted unrelated features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Generated </a:t>
                      </a:r>
                      <a:r>
                        <a:rPr lang="en-CA" sz="1200" b="1" i="1" baseline="0" dirty="0">
                          <a:solidFill>
                            <a:srgbClr val="C55A11"/>
                          </a:solidFill>
                        </a:rPr>
                        <a:t>Weekend </a:t>
                      </a: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(YES / NO) and </a:t>
                      </a:r>
                      <a:r>
                        <a:rPr lang="en-CA" sz="1200" b="1" i="1" baseline="0" dirty="0">
                          <a:solidFill>
                            <a:srgbClr val="C55A11"/>
                          </a:solidFill>
                        </a:rPr>
                        <a:t>Day of the week </a:t>
                      </a:r>
                      <a:r>
                        <a:rPr lang="en-CA" sz="1200" b="0" i="0" baseline="0" dirty="0">
                          <a:solidFill>
                            <a:srgbClr val="C55A11"/>
                          </a:solidFill>
                        </a:rPr>
                        <a:t>from </a:t>
                      </a:r>
                      <a:r>
                        <a:rPr lang="en-CA" sz="1200" b="1" i="1" baseline="0" dirty="0">
                          <a:solidFill>
                            <a:srgbClr val="C55A11"/>
                          </a:solidFill>
                        </a:rPr>
                        <a:t>Date</a:t>
                      </a:r>
                      <a:r>
                        <a:rPr lang="en-CA" sz="1200" b="1" i="0" baseline="0" dirty="0">
                          <a:solidFill>
                            <a:srgbClr val="C55A11"/>
                          </a:solidFill>
                        </a:rPr>
                        <a:t> </a:t>
                      </a:r>
                      <a:endParaRPr lang="en-CA" sz="1200" b="1" i="1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lnSpc>
                          <a:spcPct val="130000"/>
                        </a:lnSpc>
                        <a:buAutoNum type="arabicPeriod"/>
                      </a:pP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Generated </a:t>
                      </a:r>
                      <a:r>
                        <a:rPr lang="en-CA" sz="1200" b="1" i="1" baseline="0" dirty="0">
                          <a:solidFill>
                            <a:srgbClr val="C55A11"/>
                          </a:solidFill>
                        </a:rPr>
                        <a:t>‘Booked through Agent’</a:t>
                      </a: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 (YES/NO) from </a:t>
                      </a:r>
                      <a:r>
                        <a:rPr lang="en-CA" sz="1200" b="1" i="1" baseline="0" dirty="0">
                          <a:solidFill>
                            <a:srgbClr val="C55A11"/>
                          </a:solidFill>
                        </a:rPr>
                        <a:t>‘Agent ID’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Generated </a:t>
                      </a:r>
                      <a:r>
                        <a:rPr lang="en-CA" sz="1200" b="1" i="1" baseline="0" dirty="0">
                          <a:solidFill>
                            <a:srgbClr val="C55A11"/>
                          </a:solidFill>
                        </a:rPr>
                        <a:t>‘Booked through Company’</a:t>
                      </a: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 (Y/N) from </a:t>
                      </a:r>
                      <a:r>
                        <a:rPr lang="en-CA" sz="1200" b="1" i="1" baseline="0" dirty="0">
                          <a:solidFill>
                            <a:srgbClr val="C55A11"/>
                          </a:solidFill>
                        </a:rPr>
                        <a:t>Company ID’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CA" sz="1200" dirty="0">
                          <a:solidFill>
                            <a:srgbClr val="C55A11"/>
                          </a:solidFill>
                        </a:rPr>
                        <a:t>One-Hot Encoding</a:t>
                      </a: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 for all</a:t>
                      </a:r>
                      <a:r>
                        <a:rPr lang="en-CA" sz="1200" dirty="0">
                          <a:solidFill>
                            <a:srgbClr val="C55A11"/>
                          </a:solidFill>
                        </a:rPr>
                        <a:t> categorical features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CA" sz="1200" dirty="0">
                          <a:solidFill>
                            <a:srgbClr val="C55A11"/>
                          </a:solidFill>
                        </a:rPr>
                        <a:t>Removed all values greater than (Q3</a:t>
                      </a: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 + </a:t>
                      </a:r>
                      <a:r>
                        <a:rPr lang="en-CA" sz="1200" dirty="0">
                          <a:solidFill>
                            <a:srgbClr val="C55A11"/>
                          </a:solidFill>
                        </a:rPr>
                        <a:t>1.5</a:t>
                      </a: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 * IQR) or less than 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CA" sz="1200" baseline="0" dirty="0">
                          <a:solidFill>
                            <a:srgbClr val="C55A11"/>
                          </a:solidFill>
                        </a:rPr>
                        <a:t>(Q1 – 1.5 * IQR) </a:t>
                      </a:r>
                    </a:p>
                  </a:txBody>
                  <a:tcPr marL="108000" marR="36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991395"/>
                  </a:ext>
                </a:extLst>
              </a:tr>
            </a:tbl>
          </a:graphicData>
        </a:graphic>
      </p:graphicFrame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3"/>
          <a:srcRect l="3492" t="2425" r="57420" b="45148"/>
          <a:stretch/>
        </p:blipFill>
        <p:spPr>
          <a:xfrm>
            <a:off x="8087992" y="3746300"/>
            <a:ext cx="3107748" cy="94458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l="18088" t="37933" r="53252" b="20283"/>
          <a:stretch/>
        </p:blipFill>
        <p:spPr>
          <a:xfrm>
            <a:off x="2401592" y="3509823"/>
            <a:ext cx="2409125" cy="197571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4"/>
          <a:srcRect l="54505" t="37840" r="17386" b="20754"/>
          <a:stretch/>
        </p:blipFill>
        <p:spPr>
          <a:xfrm>
            <a:off x="4840651" y="3529058"/>
            <a:ext cx="2317336" cy="192006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62236" y="3351498"/>
            <a:ext cx="2481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i="1" dirty="0">
                <a:solidFill>
                  <a:schemeClr val="accent2">
                    <a:lumMod val="75000"/>
                  </a:schemeClr>
                </a:solidFill>
              </a:rPr>
              <a:t>Reservations per ‘day of the week’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810717" y="3349807"/>
            <a:ext cx="2481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i="1" dirty="0">
                <a:solidFill>
                  <a:schemeClr val="accent2">
                    <a:lumMod val="75000"/>
                  </a:schemeClr>
                </a:solidFill>
              </a:rPr>
              <a:t>Cancellations per ‘day of the week’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/>
          <a:srcRect l="18561" t="57899" r="17228" b="34218"/>
          <a:stretch/>
        </p:blipFill>
        <p:spPr>
          <a:xfrm>
            <a:off x="7206112" y="5171207"/>
            <a:ext cx="4720551" cy="88308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7262558" y="6230831"/>
            <a:ext cx="4692727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700" dirty="0">
                <a:solidFill>
                  <a:srgbClr val="C55A11"/>
                </a:solidFill>
              </a:rPr>
              <a:t>Q3 = Third quartile or 75</a:t>
            </a:r>
            <a:r>
              <a:rPr lang="en-CA" sz="700" baseline="30000" dirty="0">
                <a:solidFill>
                  <a:srgbClr val="C55A11"/>
                </a:solidFill>
              </a:rPr>
              <a:t>th</a:t>
            </a:r>
            <a:r>
              <a:rPr lang="en-CA" sz="700" dirty="0">
                <a:solidFill>
                  <a:srgbClr val="C55A11"/>
                </a:solidFill>
              </a:rPr>
              <a:t>  percentile; Q1 = First quartile or 25</a:t>
            </a:r>
            <a:r>
              <a:rPr lang="en-CA" sz="700" baseline="30000" dirty="0">
                <a:solidFill>
                  <a:srgbClr val="C55A11"/>
                </a:solidFill>
              </a:rPr>
              <a:t>th</a:t>
            </a:r>
            <a:r>
              <a:rPr lang="en-CA" sz="700" dirty="0">
                <a:solidFill>
                  <a:srgbClr val="C55A11"/>
                </a:solidFill>
              </a:rPr>
              <a:t> percentile; IQR = Inter-Quartile Range (Q3-Q1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295887" y="3558004"/>
            <a:ext cx="28998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i="1" dirty="0">
                <a:solidFill>
                  <a:schemeClr val="accent2">
                    <a:lumMod val="75000"/>
                  </a:schemeClr>
                </a:solidFill>
              </a:rPr>
              <a:t>BOX PLOT: ADR (Average Daily Rate)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366942" y="4889125"/>
            <a:ext cx="23922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100" b="1" dirty="0">
                <a:solidFill>
                  <a:schemeClr val="accent2">
                    <a:lumMod val="75000"/>
                  </a:schemeClr>
                </a:solidFill>
              </a:rPr>
              <a:t>BEFORE       vs          AFTE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338319" y="5943958"/>
            <a:ext cx="23922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100" dirty="0">
                <a:solidFill>
                  <a:schemeClr val="accent2">
                    <a:lumMod val="75000"/>
                  </a:schemeClr>
                </a:solidFill>
              </a:rPr>
              <a:t>Probability density graphs</a:t>
            </a:r>
          </a:p>
        </p:txBody>
      </p:sp>
      <p:graphicFrame>
        <p:nvGraphicFramePr>
          <p:cNvPr id="39" name="Diagram 38"/>
          <p:cNvGraphicFramePr/>
          <p:nvPr>
            <p:extLst>
              <p:ext uri="{D42A27DB-BD31-4B8C-83A1-F6EECF244321}">
                <p14:modId xmlns:p14="http://schemas.microsoft.com/office/powerpoint/2010/main" val="2765361649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6747494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accent2">
                    <a:lumMod val="75000"/>
                  </a:schemeClr>
                </a:solidFill>
              </a:rPr>
              <a:t>Feature Scaling and Reduct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Google Shape;161;p3"/>
          <p:cNvSpPr/>
          <p:nvPr/>
        </p:nvSpPr>
        <p:spPr>
          <a:xfrm>
            <a:off x="452704" y="1192774"/>
            <a:ext cx="11257396" cy="2064942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Google Shape;163;p3"/>
          <p:cNvSpPr txBox="1"/>
          <p:nvPr/>
        </p:nvSpPr>
        <p:spPr>
          <a:xfrm>
            <a:off x="946111" y="1021507"/>
            <a:ext cx="264522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CA" sz="2000" kern="0" dirty="0">
                <a:solidFill>
                  <a:schemeClr val="accent2">
                    <a:lumMod val="75000"/>
                  </a:schemeClr>
                </a:solidFill>
                <a:ea typeface="Arial"/>
                <a:cs typeface="Arial"/>
                <a:sym typeface="Arial"/>
              </a:rPr>
              <a:t>Feature Scaling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071101" y="1382730"/>
            <a:ext cx="6376856" cy="12126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Normalization vs Standardization</a:t>
            </a: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Our dataset has many non-negative features, like price, no. of children etc. </a:t>
            </a: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Normalization represents non-negative features better</a:t>
            </a: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Standardization has a much wider spread vis-à-vis normalization</a:t>
            </a:r>
          </a:p>
        </p:txBody>
      </p:sp>
      <p:sp>
        <p:nvSpPr>
          <p:cNvPr id="9" name="Google Shape;161;p3"/>
          <p:cNvSpPr/>
          <p:nvPr/>
        </p:nvSpPr>
        <p:spPr>
          <a:xfrm>
            <a:off x="452704" y="3450976"/>
            <a:ext cx="11257396" cy="2988000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2" name="Google Shape;163;p3"/>
          <p:cNvSpPr txBox="1"/>
          <p:nvPr/>
        </p:nvSpPr>
        <p:spPr>
          <a:xfrm>
            <a:off x="946111" y="3279709"/>
            <a:ext cx="376079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CA" sz="2000" kern="0" dirty="0">
                <a:solidFill>
                  <a:schemeClr val="accent2">
                    <a:lumMod val="75000"/>
                  </a:schemeClr>
                </a:solidFill>
                <a:ea typeface="Arial"/>
                <a:cs typeface="Arial"/>
                <a:sym typeface="Arial"/>
              </a:rPr>
              <a:t>Feature Reduction / Selection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62386" y="6061423"/>
            <a:ext cx="11038032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K-best method gave best results for regression and PCA gave best results for classification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/>
          <a:srcRect l="17818" t="15394" r="19872" b="17904"/>
          <a:stretch/>
        </p:blipFill>
        <p:spPr>
          <a:xfrm>
            <a:off x="4461968" y="3962868"/>
            <a:ext cx="3262000" cy="1964216"/>
          </a:xfrm>
          <a:prstGeom prst="rect">
            <a:avLst/>
          </a:prstGeom>
        </p:spPr>
      </p:pic>
      <p:cxnSp>
        <p:nvCxnSpPr>
          <p:cNvPr id="21" name="Straight Connector 20"/>
          <p:cNvCxnSpPr/>
          <p:nvPr/>
        </p:nvCxnSpPr>
        <p:spPr>
          <a:xfrm>
            <a:off x="6191186" y="4111265"/>
            <a:ext cx="9236" cy="165600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4"/>
          <a:srcRect l="18151" t="29600" r="17165" b="18640"/>
          <a:stretch/>
        </p:blipFill>
        <p:spPr>
          <a:xfrm>
            <a:off x="466764" y="1375716"/>
            <a:ext cx="4155117" cy="187029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204146" y="1440826"/>
            <a:ext cx="359985" cy="24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0" name="Rectangle 19"/>
          <p:cNvSpPr/>
          <p:nvPr/>
        </p:nvSpPr>
        <p:spPr>
          <a:xfrm>
            <a:off x="4107893" y="2392125"/>
            <a:ext cx="454634" cy="2593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extBox 3"/>
          <p:cNvSpPr txBox="1"/>
          <p:nvPr/>
        </p:nvSpPr>
        <p:spPr>
          <a:xfrm>
            <a:off x="3649569" y="1421576"/>
            <a:ext cx="1057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900" dirty="0">
                <a:solidFill>
                  <a:schemeClr val="accent2">
                    <a:lumMod val="75000"/>
                  </a:schemeClr>
                </a:solidFill>
              </a:rPr>
              <a:t>Normalization</a:t>
            </a:r>
          </a:p>
          <a:p>
            <a:r>
              <a:rPr lang="en-CA" sz="900" dirty="0">
                <a:solidFill>
                  <a:schemeClr val="accent2">
                    <a:lumMod val="75000"/>
                  </a:schemeClr>
                </a:solidFill>
              </a:rPr>
              <a:t>Standardization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3443572" y="1516906"/>
            <a:ext cx="2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443572" y="1665175"/>
            <a:ext cx="25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649569" y="2355064"/>
            <a:ext cx="1057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900" dirty="0">
                <a:solidFill>
                  <a:schemeClr val="accent2">
                    <a:lumMod val="75000"/>
                  </a:schemeClr>
                </a:solidFill>
              </a:rPr>
              <a:t>Normalization</a:t>
            </a:r>
          </a:p>
          <a:p>
            <a:r>
              <a:rPr lang="en-CA" sz="900" dirty="0">
                <a:solidFill>
                  <a:schemeClr val="accent2">
                    <a:lumMod val="75000"/>
                  </a:schemeClr>
                </a:solidFill>
              </a:rPr>
              <a:t>Standardization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3443572" y="2450394"/>
            <a:ext cx="2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443572" y="2598663"/>
            <a:ext cx="25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4925990" y="2794729"/>
            <a:ext cx="6480000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hoose Normalization for feature scaling of our dataset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94483" y="4051530"/>
            <a:ext cx="3456298" cy="75297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Recursive Feature Elimination with Cross-Validation (RFECV) Output (Regression Only)</a:t>
            </a:r>
          </a:p>
        </p:txBody>
      </p: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626580" y="4529241"/>
            <a:ext cx="3344970" cy="21544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mal number of features : 80 </a:t>
            </a:r>
            <a:endParaRPr kumimoji="0" lang="en-US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3" name="Pentagon 32"/>
          <p:cNvSpPr/>
          <p:nvPr/>
        </p:nvSpPr>
        <p:spPr>
          <a:xfrm>
            <a:off x="585056" y="3738720"/>
            <a:ext cx="1109024" cy="324952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RFECV</a:t>
            </a:r>
          </a:p>
        </p:txBody>
      </p:sp>
      <p:sp>
        <p:nvSpPr>
          <p:cNvPr id="35" name="Pentagon 34"/>
          <p:cNvSpPr/>
          <p:nvPr/>
        </p:nvSpPr>
        <p:spPr>
          <a:xfrm>
            <a:off x="4001407" y="3689919"/>
            <a:ext cx="756000" cy="324952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PCA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16711" y="5175662"/>
            <a:ext cx="3456298" cy="796166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Regression – Predicting Average Daily Rate: Top 60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Classification – Predicting cancellation:           Top 70 features</a:t>
            </a:r>
          </a:p>
        </p:txBody>
      </p:sp>
      <p:sp>
        <p:nvSpPr>
          <p:cNvPr id="37" name="Pentagon 36"/>
          <p:cNvSpPr/>
          <p:nvPr/>
        </p:nvSpPr>
        <p:spPr>
          <a:xfrm>
            <a:off x="607284" y="4862852"/>
            <a:ext cx="1109024" cy="324952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K-BES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41491" y="5304268"/>
            <a:ext cx="1352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i="1" dirty="0">
                <a:solidFill>
                  <a:schemeClr val="accent2">
                    <a:lumMod val="75000"/>
                  </a:schemeClr>
                </a:solidFill>
              </a:rPr>
              <a:t>*Optimal Number of features: 60</a:t>
            </a:r>
          </a:p>
        </p:txBody>
      </p:sp>
      <p:graphicFrame>
        <p:nvGraphicFramePr>
          <p:cNvPr id="39" name="Diagram 38"/>
          <p:cNvGraphicFramePr/>
          <p:nvPr>
            <p:extLst>
              <p:ext uri="{D42A27DB-BD31-4B8C-83A1-F6EECF244321}">
                <p14:modId xmlns:p14="http://schemas.microsoft.com/office/powerpoint/2010/main" val="3394102941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0"/>
          <a:srcRect t="3611" r="4632"/>
          <a:stretch/>
        </p:blipFill>
        <p:spPr>
          <a:xfrm>
            <a:off x="8356320" y="4003826"/>
            <a:ext cx="3066400" cy="1991203"/>
          </a:xfrm>
          <a:prstGeom prst="rect">
            <a:avLst/>
          </a:prstGeom>
        </p:spPr>
      </p:pic>
      <p:sp>
        <p:nvSpPr>
          <p:cNvPr id="44" name="Rectangle 43"/>
          <p:cNvSpPr/>
          <p:nvPr/>
        </p:nvSpPr>
        <p:spPr>
          <a:xfrm>
            <a:off x="4257962" y="3741141"/>
            <a:ext cx="7334374" cy="223068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endParaRPr lang="en-US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30355" y="3749155"/>
            <a:ext cx="28426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Regression: Predict Avg. Daily Rat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536174" y="3770391"/>
            <a:ext cx="28865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Classification: Predict Cancellation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10273413" y="4101755"/>
            <a:ext cx="9236" cy="158400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0216368" y="5217520"/>
            <a:ext cx="1352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i="1" dirty="0">
                <a:solidFill>
                  <a:schemeClr val="accent2">
                    <a:lumMod val="75000"/>
                  </a:schemeClr>
                </a:solidFill>
              </a:rPr>
              <a:t>*Optimal Number of features: 70</a:t>
            </a:r>
          </a:p>
        </p:txBody>
      </p:sp>
    </p:spTree>
    <p:extLst>
      <p:ext uri="{BB962C8B-B14F-4D97-AF65-F5344CB8AC3E}">
        <p14:creationId xmlns:p14="http://schemas.microsoft.com/office/powerpoint/2010/main" val="3940327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>
                <a:solidFill>
                  <a:schemeClr val="accent2">
                    <a:lumMod val="75000"/>
                  </a:schemeClr>
                </a:solidFill>
              </a:rPr>
              <a:t>Modelling</a:t>
            </a:r>
            <a:br>
              <a:rPr lang="en-CA" sz="3600" kern="0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CA" sz="2000" kern="0" dirty="0">
                <a:solidFill>
                  <a:schemeClr val="accent2">
                    <a:lumMod val="75000"/>
                  </a:schemeClr>
                </a:solidFill>
              </a:rPr>
              <a:t>Regression : Predicting Average Daily Dat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7061" y="1425905"/>
            <a:ext cx="2166911" cy="484208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36931" y="1434382"/>
            <a:ext cx="9164988" cy="318841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36931" y="5390504"/>
            <a:ext cx="9162000" cy="87748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247061" y="1082426"/>
            <a:ext cx="2166911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2836931" y="1090903"/>
            <a:ext cx="9162000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2836931" y="5047025"/>
            <a:ext cx="9162000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91158" y="1126077"/>
            <a:ext cx="2275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>
                <a:solidFill>
                  <a:srgbClr val="FFFFFF"/>
                </a:solidFill>
              </a:rPr>
              <a:t>Select &amp; Trai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718380" y="1107197"/>
            <a:ext cx="55108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>
                <a:solidFill>
                  <a:srgbClr val="FFFFFF"/>
                </a:solidFill>
              </a:rPr>
              <a:t>Tune and Compar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960057" y="5063319"/>
            <a:ext cx="8948408" cy="345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>
                <a:solidFill>
                  <a:srgbClr val="FFFFFF"/>
                </a:solidFill>
              </a:rPr>
              <a:t>Result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7060" y="1503357"/>
            <a:ext cx="218246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Identified six models to train 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Linear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Stochastic Gradient Descent (SGD)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Elastic Ne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K-Neighbors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Ada Boost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Random Forest Regression</a:t>
            </a:r>
          </a:p>
        </p:txBody>
      </p:sp>
      <p:sp>
        <p:nvSpPr>
          <p:cNvPr id="25" name="Right Arrow 24"/>
          <p:cNvSpPr/>
          <p:nvPr/>
        </p:nvSpPr>
        <p:spPr>
          <a:xfrm>
            <a:off x="2413011" y="1450677"/>
            <a:ext cx="42208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7" name="Right Arrow 26"/>
          <p:cNvSpPr/>
          <p:nvPr/>
        </p:nvSpPr>
        <p:spPr>
          <a:xfrm rot="5400000">
            <a:off x="7185198" y="3633502"/>
            <a:ext cx="422082" cy="24120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798883683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3000452" y="1522904"/>
            <a:ext cx="9159297" cy="3022088"/>
            <a:chOff x="2715972" y="1488459"/>
            <a:chExt cx="9159297" cy="302208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13"/>
            <a:srcRect b="24289"/>
            <a:stretch/>
          </p:blipFill>
          <p:spPr>
            <a:xfrm>
              <a:off x="2715972" y="1488459"/>
              <a:ext cx="8791575" cy="2870181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3760776" y="4271853"/>
              <a:ext cx="3417549" cy="952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90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8299890" y="4260302"/>
              <a:ext cx="3417549" cy="952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90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098800" y="4277360"/>
              <a:ext cx="13716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inear Regression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375975" y="4277360"/>
              <a:ext cx="13716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GD Regression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000676" y="4272238"/>
              <a:ext cx="13716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lastic Net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215458" y="4279169"/>
              <a:ext cx="160202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>
                  <a:solidFill>
                    <a:srgbClr val="000000"/>
                  </a:solidFill>
                  <a:highlight>
                    <a:srgbClr val="FFFF00"/>
                  </a:highlight>
                  <a:latin typeface="Tahoma" panose="020B0604030504040204" pitchFamily="34" charset="0"/>
                  <a:ea typeface="Tahoma" panose="020B0604030504040204" pitchFamily="34" charset="0"/>
                </a:rPr>
                <a:t>K-Neighbors </a:t>
              </a:r>
              <a:r>
                <a:rPr lang="en-CA" sz="900" dirty="0" err="1">
                  <a:solidFill>
                    <a:srgbClr val="000000"/>
                  </a:solidFill>
                  <a:highlight>
                    <a:srgbClr val="FFFF00"/>
                  </a:highlight>
                  <a:latin typeface="Tahoma" panose="020B0604030504040204" pitchFamily="34" charset="0"/>
                  <a:ea typeface="Tahoma" panose="020B0604030504040204" pitchFamily="34" charset="0"/>
                </a:rPr>
                <a:t>Regressor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8768571" y="4279715"/>
              <a:ext cx="160202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daBoost</a:t>
              </a:r>
              <a:r>
                <a:rPr lang="en-CA" sz="9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CA" sz="9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gressor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008665" y="4279169"/>
              <a:ext cx="186660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ndom Forest </a:t>
              </a:r>
              <a:r>
                <a:rPr lang="en-CA" sz="9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gressor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3130029" y="5386550"/>
            <a:ext cx="35293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K-Neighbors Regression gives best result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MAE (Mean absolute error):          13.167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RMSE (Root mean square error):  21.488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113803" y="5367579"/>
            <a:ext cx="37758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Tuned </a:t>
            </a: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Hyperparameters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 for K-Neighbors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leaf_size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 = 30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n_neighbors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 =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9461752" y="5604712"/>
            <a:ext cx="23302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p = 2</a:t>
            </a:r>
          </a:p>
        </p:txBody>
      </p:sp>
    </p:spTree>
    <p:extLst>
      <p:ext uri="{BB962C8B-B14F-4D97-AF65-F5344CB8AC3E}">
        <p14:creationId xmlns:p14="http://schemas.microsoft.com/office/powerpoint/2010/main" val="42422607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>
                <a:solidFill>
                  <a:schemeClr val="accent2">
                    <a:lumMod val="75000"/>
                  </a:schemeClr>
                </a:solidFill>
              </a:rPr>
              <a:t>Modelling</a:t>
            </a:r>
            <a:br>
              <a:rPr lang="en-CA" sz="3600" kern="0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CA" sz="2000" kern="0" dirty="0">
                <a:solidFill>
                  <a:schemeClr val="accent2">
                    <a:lumMod val="75000"/>
                  </a:schemeClr>
                </a:solidFill>
              </a:rPr>
              <a:t>Classification: Predicting Cancellat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661665220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3"/>
          <a:srcRect l="1327" t="3532" r="14015" b="4656"/>
          <a:stretch/>
        </p:blipFill>
        <p:spPr>
          <a:xfrm>
            <a:off x="2960057" y="1559093"/>
            <a:ext cx="6287009" cy="2560320"/>
          </a:xfrm>
          <a:prstGeom prst="rect">
            <a:avLst/>
          </a:prstGeom>
        </p:spPr>
      </p:pic>
      <p:sp>
        <p:nvSpPr>
          <p:cNvPr id="15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7061" y="1425905"/>
            <a:ext cx="2166911" cy="484208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36931" y="1434381"/>
            <a:ext cx="6469208" cy="483360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731521" y="1451199"/>
            <a:ext cx="2211096" cy="481678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247061" y="1082426"/>
            <a:ext cx="2166911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2836931" y="1090903"/>
            <a:ext cx="6467099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0" name="Rectangle 1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9731521" y="1107720"/>
            <a:ext cx="2211096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1158" y="1126077"/>
            <a:ext cx="2275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>
                <a:solidFill>
                  <a:srgbClr val="FFFFFF"/>
                </a:solidFill>
              </a:rPr>
              <a:t>Select &amp; Trai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18381" y="1107197"/>
            <a:ext cx="2251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>
                <a:solidFill>
                  <a:srgbClr val="FFFFFF"/>
                </a:solidFill>
              </a:rPr>
              <a:t>Tune and Compa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854647" y="1124014"/>
            <a:ext cx="19512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>
                <a:solidFill>
                  <a:srgbClr val="FFFFFF"/>
                </a:solidFill>
              </a:rPr>
              <a:t>Conclus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62140" y="1508282"/>
            <a:ext cx="19576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Identified six models to train 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K-Neighbors Classifie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Logistic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Random Forest Classifie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Support Vector Classifier (SVC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Decision Tree Classifie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Voting Classifier</a:t>
            </a:r>
          </a:p>
        </p:txBody>
      </p:sp>
      <p:sp>
        <p:nvSpPr>
          <p:cNvPr id="25" name="Right Arrow 24"/>
          <p:cNvSpPr/>
          <p:nvPr/>
        </p:nvSpPr>
        <p:spPr>
          <a:xfrm>
            <a:off x="2413011" y="1450677"/>
            <a:ext cx="42208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7" name="TextBox 36"/>
          <p:cNvSpPr txBox="1"/>
          <p:nvPr/>
        </p:nvSpPr>
        <p:spPr>
          <a:xfrm>
            <a:off x="9764346" y="1462568"/>
            <a:ext cx="217827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Random Forest Classifier (RFC)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and </a:t>
            </a: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Voting classifier  (VC)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give the best results on each of the following parameter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Accuracy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Preci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F1 sco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ROC AUC sco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Decision Tree Classifier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provides best results for Recall; about 2-3% better than RFC and VC</a:t>
            </a:r>
          </a:p>
        </p:txBody>
      </p:sp>
      <p:sp>
        <p:nvSpPr>
          <p:cNvPr id="38" name="Right Arrow 37"/>
          <p:cNvSpPr/>
          <p:nvPr/>
        </p:nvSpPr>
        <p:spPr>
          <a:xfrm>
            <a:off x="9312880" y="1464565"/>
            <a:ext cx="42208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15F21B9-1C38-664A-A316-8F34DC03512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28772" y="4181288"/>
            <a:ext cx="5934683" cy="2058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1929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>
                <a:solidFill>
                  <a:schemeClr val="accent2">
                    <a:lumMod val="75000"/>
                  </a:schemeClr>
                </a:solidFill>
              </a:rPr>
              <a:t>Results</a:t>
            </a:r>
            <a:br>
              <a:rPr lang="en-CA" sz="3600" kern="0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CA" sz="2000" kern="0" dirty="0">
                <a:solidFill>
                  <a:schemeClr val="accent2">
                    <a:lumMod val="75000"/>
                  </a:schemeClr>
                </a:solidFill>
              </a:rPr>
              <a:t>Classification: Predicting Cancellat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661665220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391766" y="1439217"/>
            <a:ext cx="5641497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400" b="1" dirty="0">
                <a:solidFill>
                  <a:schemeClr val="accent2">
                    <a:lumMod val="75000"/>
                  </a:schemeClr>
                </a:solidFill>
              </a:rPr>
              <a:t>Choose Voting classifier (VC)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Alongwith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 Random Forest Classifier (RFC), VC gives the best results for Accuracy and Preci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The recall score is only ~3% less than the best resul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Choose VC over RFC, since it compares other models (including RFC) and generally provides best results</a:t>
            </a:r>
          </a:p>
        </p:txBody>
      </p:sp>
      <p:sp>
        <p:nvSpPr>
          <p:cNvPr id="18" name="Google Shape;161;p3"/>
          <p:cNvSpPr/>
          <p:nvPr/>
        </p:nvSpPr>
        <p:spPr>
          <a:xfrm>
            <a:off x="285288" y="1260148"/>
            <a:ext cx="11612072" cy="2140493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Google Shape;163;p3"/>
          <p:cNvSpPr txBox="1"/>
          <p:nvPr/>
        </p:nvSpPr>
        <p:spPr>
          <a:xfrm>
            <a:off x="778695" y="1088882"/>
            <a:ext cx="241154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hoose Model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0" name="Google Shape;161;p3"/>
          <p:cNvSpPr/>
          <p:nvPr/>
        </p:nvSpPr>
        <p:spPr>
          <a:xfrm>
            <a:off x="5539856" y="3607895"/>
            <a:ext cx="6357504" cy="2675187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Google Shape;163;p3"/>
          <p:cNvSpPr txBox="1"/>
          <p:nvPr/>
        </p:nvSpPr>
        <p:spPr>
          <a:xfrm>
            <a:off x="6033263" y="3436629"/>
            <a:ext cx="241154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onfusion</a:t>
            </a:r>
            <a:r>
              <a:rPr kumimoji="0" lang="en-CA" sz="2000" b="0" i="0" u="none" strike="noStrike" kern="0" cap="none" spc="0" normalizeH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 Matrix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2" name="Google Shape;161;p3"/>
          <p:cNvSpPr/>
          <p:nvPr/>
        </p:nvSpPr>
        <p:spPr>
          <a:xfrm>
            <a:off x="285288" y="3614346"/>
            <a:ext cx="4953647" cy="2675187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Google Shape;163;p3"/>
          <p:cNvSpPr txBox="1"/>
          <p:nvPr/>
        </p:nvSpPr>
        <p:spPr>
          <a:xfrm>
            <a:off x="760223" y="3443080"/>
            <a:ext cx="3663996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buClr>
                <a:srgbClr val="000000"/>
              </a:buClr>
              <a:defRPr/>
            </a:pPr>
            <a:r>
              <a:rPr lang="en-CA" sz="2000" kern="0" dirty="0">
                <a:solidFill>
                  <a:schemeClr val="accent2">
                    <a:lumMod val="75000"/>
                  </a:schemeClr>
                </a:solidFill>
                <a:ea typeface="Arial"/>
                <a:cs typeface="Arial"/>
                <a:sym typeface="Arial"/>
              </a:rPr>
              <a:t>Voting classifier (VC) Resul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87070" y="1285130"/>
            <a:ext cx="4916077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400" b="1" dirty="0">
                <a:solidFill>
                  <a:schemeClr val="accent2">
                    <a:lumMod val="75000"/>
                  </a:schemeClr>
                </a:solidFill>
              </a:rPr>
              <a:t>Tuned </a:t>
            </a:r>
            <a:r>
              <a:rPr lang="en-CA" sz="1400" b="1" dirty="0" err="1">
                <a:solidFill>
                  <a:schemeClr val="accent2">
                    <a:lumMod val="75000"/>
                  </a:schemeClr>
                </a:solidFill>
              </a:rPr>
              <a:t>Hyperparameters</a:t>
            </a:r>
            <a:endParaRPr lang="en-CA" sz="1400" b="1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K-Neighbors Classifier: 	     </a:t>
            </a: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n_neighbors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 = 10, weights = ‘distance’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Logistic Regression: 	     solver = ‘lib linear’, </a:t>
            </a: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tol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 = 0.0001, c = 1.0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Random Forest Classifier:   </a:t>
            </a: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n_estimators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 = 10, criterion = </a:t>
            </a: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gini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Support Vector Classifier:    c = 1.0, kernel = </a:t>
            </a:r>
            <a:r>
              <a:rPr lang="en-CA" sz="1200" dirty="0" err="1">
                <a:solidFill>
                  <a:schemeClr val="accent2">
                    <a:lumMod val="75000"/>
                  </a:schemeClr>
                </a:solidFill>
              </a:rPr>
              <a:t>rvf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, tolerance = 0.001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Decision Tree Classifier:      splitter = ‘best’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Voting Classifier:	      voting = ‘hard’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D2B059A-18DD-9046-9444-8AA07EC53B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47979" y="3735075"/>
            <a:ext cx="3492523" cy="248954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6ED3A88-749B-7449-8E30-8B60CF0AB1E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0538" y="4210455"/>
            <a:ext cx="43815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377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>
                <a:solidFill>
                  <a:schemeClr val="accent2">
                    <a:lumMod val="75000"/>
                  </a:schemeClr>
                </a:solidFill>
              </a:rPr>
              <a:t>Neural Network (</a:t>
            </a:r>
            <a:r>
              <a:rPr lang="en-CA" sz="3600" kern="0" dirty="0" err="1">
                <a:solidFill>
                  <a:schemeClr val="accent2">
                    <a:lumMod val="75000"/>
                  </a:schemeClr>
                </a:solidFill>
              </a:rPr>
              <a:t>TensorFlow</a:t>
            </a:r>
            <a:r>
              <a:rPr lang="en-CA" sz="3600" kern="0" dirty="0">
                <a:solidFill>
                  <a:schemeClr val="accent2">
                    <a:lumMod val="75000"/>
                  </a:schemeClr>
                </a:solidFill>
              </a:rPr>
              <a:t>)</a:t>
            </a:r>
            <a:endParaRPr lang="en-CA" sz="200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575" y="1530150"/>
            <a:ext cx="3777695" cy="2694308"/>
          </a:xfrm>
          <a:prstGeom prst="rect">
            <a:avLst/>
          </a:prstGeom>
        </p:spPr>
      </p:pic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674394854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94399" y="4185462"/>
            <a:ext cx="5938863" cy="195274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31906" y="1454457"/>
            <a:ext cx="6501356" cy="2521463"/>
          </a:xfrm>
          <a:prstGeom prst="rect">
            <a:avLst/>
          </a:prstGeom>
        </p:spPr>
      </p:pic>
      <p:sp>
        <p:nvSpPr>
          <p:cNvPr id="18" name="Google Shape;161;p3"/>
          <p:cNvSpPr/>
          <p:nvPr/>
        </p:nvSpPr>
        <p:spPr>
          <a:xfrm>
            <a:off x="214167" y="1260149"/>
            <a:ext cx="11552959" cy="5051034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Google Shape;163;p3"/>
          <p:cNvSpPr txBox="1"/>
          <p:nvPr/>
        </p:nvSpPr>
        <p:spPr>
          <a:xfrm>
            <a:off x="707576" y="1088882"/>
            <a:ext cx="2635988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Summary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78823" y="4265657"/>
            <a:ext cx="5595505" cy="208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Neural Networks applied to </a:t>
            </a: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predict cancellations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using </a:t>
            </a: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three layers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with following p</a:t>
            </a:r>
            <a:r>
              <a:rPr lang="en-US" sz="1200" dirty="0" err="1">
                <a:solidFill>
                  <a:schemeClr val="accent2">
                    <a:lumMod val="75000"/>
                  </a:schemeClr>
                </a:solidFill>
              </a:rPr>
              <a:t>erceptron</a:t>
            </a: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 information:</a:t>
            </a:r>
          </a:p>
          <a:p>
            <a:pPr marL="628650" lvl="1" indent="-17145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Layer 1:  256 units</a:t>
            </a:r>
          </a:p>
          <a:p>
            <a:pPr marL="628650" lvl="1" indent="-17145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Layer 2: 128 units</a:t>
            </a:r>
          </a:p>
          <a:p>
            <a:pPr marL="628650" lvl="1" indent="-17145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Layer 3: 1 unit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Plotted model graph with different activation functions : </a:t>
            </a:r>
            <a:r>
              <a:rPr lang="en-CA" sz="1200" b="1" dirty="0" err="1">
                <a:solidFill>
                  <a:schemeClr val="accent2">
                    <a:lumMod val="75000"/>
                  </a:schemeClr>
                </a:solidFill>
              </a:rPr>
              <a:t>elu</a:t>
            </a: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en-CA" sz="1200" b="1" dirty="0" err="1">
                <a:solidFill>
                  <a:schemeClr val="accent2">
                    <a:lumMod val="75000"/>
                  </a:schemeClr>
                </a:solidFill>
              </a:rPr>
              <a:t>relu</a:t>
            </a: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en-CA" sz="1200" b="1" dirty="0" err="1">
                <a:solidFill>
                  <a:schemeClr val="accent2">
                    <a:lumMod val="75000"/>
                  </a:schemeClr>
                </a:solidFill>
              </a:rPr>
              <a:t>selu</a:t>
            </a: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, sigmoid, </a:t>
            </a:r>
            <a:r>
              <a:rPr lang="en-CA" sz="1200" b="1" dirty="0" err="1">
                <a:solidFill>
                  <a:schemeClr val="accent2">
                    <a:lumMod val="75000"/>
                  </a:schemeClr>
                </a:solidFill>
              </a:rPr>
              <a:t>tanh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All activation scores performed well as recall is over 0.5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Overall, </a:t>
            </a: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‘</a:t>
            </a:r>
            <a:r>
              <a:rPr lang="en-CA" sz="1200" b="1" dirty="0" err="1">
                <a:solidFill>
                  <a:schemeClr val="accent2">
                    <a:lumMod val="75000"/>
                  </a:schemeClr>
                </a:solidFill>
              </a:rPr>
              <a:t>relu</a:t>
            </a: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’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 activation function provided best results followed by </a:t>
            </a:r>
            <a:r>
              <a:rPr lang="en-CA" sz="1200" b="1" dirty="0">
                <a:solidFill>
                  <a:schemeClr val="accent2">
                    <a:lumMod val="75000"/>
                  </a:schemeClr>
                </a:solidFill>
              </a:rPr>
              <a:t>‘sigmoid’</a:t>
            </a:r>
          </a:p>
        </p:txBody>
      </p:sp>
    </p:spTree>
    <p:extLst>
      <p:ext uri="{BB962C8B-B14F-4D97-AF65-F5344CB8AC3E}">
        <p14:creationId xmlns:p14="http://schemas.microsoft.com/office/powerpoint/2010/main" val="1837751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F4B183"/>
      </a:hlink>
      <a:folHlink>
        <a:srgbClr val="F4B18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99</TotalTime>
  <Words>1597</Words>
  <Application>Microsoft Macintosh PowerPoint</Application>
  <PresentationFormat>Widescreen</PresentationFormat>
  <Paragraphs>291</Paragraphs>
  <Slides>11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ＭＳ Ｐゴシック</vt:lpstr>
      <vt:lpstr>Arial</vt:lpstr>
      <vt:lpstr>Calibri</vt:lpstr>
      <vt:lpstr>Courier New</vt:lpstr>
      <vt:lpstr>Lato</vt:lpstr>
      <vt:lpstr>Tahoma</vt:lpstr>
      <vt:lpstr>Wingdings</vt:lpstr>
      <vt:lpstr>Office Theme</vt:lpstr>
      <vt:lpstr>PowerPoint Presentation</vt:lpstr>
      <vt:lpstr>Project Journey</vt:lpstr>
      <vt:lpstr>Identify Problem and its Application</vt:lpstr>
      <vt:lpstr>Data Exploration and Feature Engineering</vt:lpstr>
      <vt:lpstr>Feature Scaling and Reduction</vt:lpstr>
      <vt:lpstr>Modelling Regression : Predicting Average Daily Date</vt:lpstr>
      <vt:lpstr>Modelling Classification: Predicting Cancellation</vt:lpstr>
      <vt:lpstr>Results Classification: Predicting Cancellation</vt:lpstr>
      <vt:lpstr>Neural Network (TensorFlow)</vt:lpstr>
      <vt:lpstr>Conclusion</vt:lpstr>
      <vt:lpstr>PowerPoint Presentation</vt:lpstr>
    </vt:vector>
  </TitlesOfParts>
  <Company>TELU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karan Singh</dc:creator>
  <cp:lastModifiedBy>Microsoft Office User</cp:lastModifiedBy>
  <cp:revision>152</cp:revision>
  <dcterms:created xsi:type="dcterms:W3CDTF">2020-03-28T16:11:28Z</dcterms:created>
  <dcterms:modified xsi:type="dcterms:W3CDTF">2020-04-08T02:39:35Z</dcterms:modified>
</cp:coreProperties>
</file>